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61" r:id="rId1"/>
  </p:sldMasterIdLst>
  <p:notesMasterIdLst>
    <p:notesMasterId r:id="rId3"/>
  </p:notesMasterIdLst>
  <p:handoutMasterIdLst>
    <p:handoutMasterId r:id="rId4"/>
  </p:handoutMasterIdLst>
  <p:sldIdLst>
    <p:sldId id="264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450" userDrawn="1">
          <p15:clr>
            <a:srgbClr val="A4A3A4"/>
          </p15:clr>
        </p15:guide>
        <p15:guide id="2" orient="horz" pos="936" userDrawn="1">
          <p15:clr>
            <a:srgbClr val="A4A3A4"/>
          </p15:clr>
        </p15:guide>
        <p15:guide id="3" orient="horz" pos="3936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3713" userDrawn="1">
          <p15:clr>
            <a:srgbClr val="A4A3A4"/>
          </p15:clr>
        </p15:guide>
        <p15:guide id="6" orient="horz" pos="4023" userDrawn="1">
          <p15:clr>
            <a:srgbClr val="A4A3A4"/>
          </p15:clr>
        </p15:guide>
        <p15:guide id="7" pos="204" userDrawn="1">
          <p15:clr>
            <a:srgbClr val="A4A3A4"/>
          </p15:clr>
        </p15:guide>
        <p15:guide id="8" pos="5556" userDrawn="1">
          <p15:clr>
            <a:srgbClr val="A4A3A4"/>
          </p15:clr>
        </p15:guide>
        <p15:guide id="9" pos="5489" userDrawn="1">
          <p15:clr>
            <a:srgbClr val="A4A3A4"/>
          </p15:clr>
        </p15:guide>
        <p15:guide id="10" pos="412" userDrawn="1">
          <p15:clr>
            <a:srgbClr val="A4A3A4"/>
          </p15:clr>
        </p15:guide>
        <p15:guide id="11" pos="29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82"/>
    <a:srgbClr val="D53D20"/>
    <a:srgbClr val="669914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8024" autoAdjust="0"/>
  </p:normalViewPr>
  <p:slideViewPr>
    <p:cSldViewPr snapToGrid="0" snapToObjects="1">
      <p:cViewPr varScale="1">
        <p:scale>
          <a:sx n="78" d="100"/>
          <a:sy n="78" d="100"/>
        </p:scale>
        <p:origin x="90" y="852"/>
      </p:cViewPr>
      <p:guideLst>
        <p:guide orient="horz" pos="450"/>
        <p:guide orient="horz" pos="936"/>
        <p:guide orient="horz" pos="3936"/>
        <p:guide orient="horz" pos="4247"/>
        <p:guide orient="horz" pos="3713"/>
        <p:guide orient="horz" pos="4023"/>
        <p:guide pos="204"/>
        <p:guide pos="5556"/>
        <p:guide pos="5489"/>
        <p:guide pos="412"/>
        <p:guide pos="292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8" d="100"/>
          <a:sy n="78" d="100"/>
        </p:scale>
        <p:origin x="188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6/1/2021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01/06/2021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45298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 June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9689354D-2B01-4E23-B2F3-01AF854EC74D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4086723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310949" cy="923330"/>
          </a:xfrm>
        </p:spPr>
        <p:txBody>
          <a:bodyPr/>
          <a:lstStyle/>
          <a:p>
            <a:r>
              <a:rPr dirty="0"/>
              <a:t>Reduzca el consumo </a:t>
            </a:r>
            <a:r>
              <a:rPr dirty="0" err="1"/>
              <a:t>eléctrico</a:t>
            </a:r>
            <a:r>
              <a:rPr dirty="0"/>
              <a:t> </a:t>
            </a:r>
            <a:r>
              <a:rPr lang="fr-FR" dirty="0" err="1"/>
              <a:t>hasta</a:t>
            </a:r>
            <a:r>
              <a:rPr lang="fr-FR" dirty="0"/>
              <a:t> </a:t>
            </a:r>
            <a:r>
              <a:rPr dirty="0" err="1"/>
              <a:t>en</a:t>
            </a:r>
            <a:r>
              <a:rPr dirty="0"/>
              <a:t> un 15%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09488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Lámparas Eco en Series 1</a:t>
            </a:r>
            <a:endParaRPr lang="es-E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lang="es-ES" sz="800" kern="0" dirty="0">
                <a:solidFill>
                  <a:srgbClr val="000000"/>
                </a:solidFill>
              </a:rPr>
              <a:t>Valor: Optimización de costos, Sostenibilidad</a:t>
            </a: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o: sopladoras Series 1</a:t>
            </a:r>
            <a:r>
              <a:rPr lang="en-US" sz="800" kern="0" dirty="0"/>
              <a:t> </a:t>
            </a:r>
            <a:r>
              <a:rPr lang="en-US" sz="800" kern="0" dirty="0" err="1"/>
              <a:t>excepto</a:t>
            </a:r>
            <a:r>
              <a:rPr lang="en-US" sz="800" kern="0" dirty="0"/>
              <a:t> la </a:t>
            </a:r>
            <a:r>
              <a:rPr lang="en-US" sz="800" kern="0" dirty="0" err="1"/>
              <a:t>versión</a:t>
            </a:r>
            <a:r>
              <a:rPr lang="en-US" sz="800" kern="0" dirty="0"/>
              <a:t> de </a:t>
            </a:r>
            <a:r>
              <a:rPr lang="en-US" sz="800" kern="0" dirty="0" err="1"/>
              <a:t>calentamiento</a:t>
            </a:r>
            <a:r>
              <a:rPr lang="en-US" sz="800" kern="0" dirty="0"/>
              <a:t> </a:t>
            </a:r>
            <a:r>
              <a:rPr lang="en-US" sz="800" kern="0"/>
              <a:t>fijo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de catálogo: 903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Y VENTAJAS</a:t>
                      </a:r>
                      <a:endParaRPr kumimoji="0" lang="es-E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CIÓN</a:t>
                      </a:r>
                      <a:endParaRPr kumimoji="0" lang="es-E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El consumo de electricidad para el calentamiento puede reducirse en al menos un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15 %</a:t>
                      </a:r>
                      <a:r>
                        <a:rPr lang="en-US" sz="1200" dirty="0"/>
                        <a:t>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Ahorro de electricidad de, como mínimo, un 15 % en el horno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Mayor nivel de irradiación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Adaptación sencilla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Mejor distribución por zonas y mayor protección de los cuellos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Estabilidad de proceso mejorada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Tubo de cuarzo protegido mecánicamente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Las capacidades de proceso siguen siendo </a:t>
                      </a:r>
                      <a:r>
                        <a:rPr lang="en-US" sz="1200" dirty="0" err="1"/>
                        <a:t>universales</a:t>
                      </a:r>
                      <a:r>
                        <a:rPr lang="en-US" sz="1200" dirty="0"/>
                        <a:t>.</a:t>
                      </a:r>
                      <a:endParaRPr lang="es-ES" sz="120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Combine las lámparas ECO con el reflector superior del horno en las sopladoras Series 1 o Series 2 y obtenga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30 % de ahorro en energía</a:t>
                      </a:r>
                      <a:r>
                        <a:rPr lang="en-US" sz="1200" b="1" dirty="0"/>
                        <a:t>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Un remplazo muy simple de las lámparas infrarrojas de 2 kW por las nuevas lámparas reflectoras de proximidad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n la SBO Series 1, las lámparas ECO pueden instalarse sin modificaciones del horno, independientemente del paso (15 mm, 19 mm, progresivo)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as lámparas ECO de 1700 W duran al menos 5000 horas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4293096"/>
            <a:ext cx="2935023" cy="919630"/>
          </a:xfrm>
          <a:prstGeom prst="rect">
            <a:avLst/>
          </a:prstGeom>
        </p:spPr>
      </p:pic>
      <p:sp>
        <p:nvSpPr>
          <p:cNvPr id="10" name="Rechteck 11">
            <a:extLst>
              <a:ext uri="{FF2B5EF4-FFF2-40B4-BE49-F238E27FC236}">
                <a16:creationId xmlns:a16="http://schemas.microsoft.com/office/drawing/2014/main" id="{09C612B3-4B15-4C22-B557-8E286C5E830C}"/>
              </a:ext>
            </a:extLst>
          </p:cNvPr>
          <p:cNvSpPr/>
          <p:nvPr/>
        </p:nvSpPr>
        <p:spPr>
          <a:xfrm>
            <a:off x="4771170" y="1743075"/>
            <a:ext cx="3878540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PCIÓN</a:t>
            </a:r>
            <a:endParaRPr kumimoji="0" lang="es-E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11" name="Image 9">
            <a:extLst>
              <a:ext uri="{FF2B5EF4-FFF2-40B4-BE49-F238E27FC236}">
                <a16:creationId xmlns:a16="http://schemas.microsoft.com/office/drawing/2014/main" id="{CC04A16A-7C3B-4A01-A1FF-496EF4056A5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5767" y="760340"/>
            <a:ext cx="828233" cy="830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7970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-PPT-Template2014</Template>
  <TotalTime>0</TotalTime>
  <Words>190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Arial</vt:lpstr>
      <vt:lpstr>Calibri</vt:lpstr>
      <vt:lpstr>Wingdings</vt:lpstr>
      <vt:lpstr>LIOMT</vt:lpstr>
      <vt:lpstr>think-cell Folie</vt:lpstr>
      <vt:lpstr>Reduzca el consumo eléctrico hasta en un 15%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8-25T09:02:12Z</dcterms:created>
  <dcterms:modified xsi:type="dcterms:W3CDTF">2021-06-01T11:17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0145709-605C-4531-AAAC-4EF06AD50932</vt:lpwstr>
  </property>
  <property fmtid="{D5CDD505-2E9C-101B-9397-08002B2CF9AE}" pid="3" name="ArticulatePath">
    <vt:lpwstr>Sidel_presentation_en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0-10T15:25:16.317639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8-03T14:26:25.556713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8-03T14:26:25.556713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